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694" r:id="rId2"/>
  </p:sldMasterIdLst>
  <p:notesMasterIdLst>
    <p:notesMasterId r:id="rId5"/>
  </p:notesMasterIdLst>
  <p:sldIdLst>
    <p:sldId id="256" r:id="rId3"/>
    <p:sldId id="258" r:id="rId4"/>
  </p:sldIdLst>
  <p:sldSz cx="6858000" cy="9906000" type="A4"/>
  <p:notesSz cx="6797675" cy="9926638"/>
  <p:custDataLst>
    <p:tags r:id="rId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5" d="100"/>
          <a:sy n="55" d="100"/>
        </p:scale>
        <p:origin x="20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C79B25-0E01-4A23-A4DA-6D9D2866C7AD}" type="datetimeFigureOut">
              <a:rPr lang="da-DK" smtClean="0"/>
              <a:t>02-07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6BCB71-EBDB-4D8F-9B44-EE4B7AD6A8A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178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8.jp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17.bin"/><Relationship Id="rId9" Type="http://schemas.openxmlformats.org/officeDocument/2006/relationships/image" Target="../media/image7.tm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7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5.tm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tmp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22.bin"/><Relationship Id="rId9" Type="http://schemas.openxmlformats.org/officeDocument/2006/relationships/image" Target="../media/image7.tmp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9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tmp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8.jp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35.bin"/><Relationship Id="rId9" Type="http://schemas.openxmlformats.org/officeDocument/2006/relationships/image" Target="../media/image7.tm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36.bin"/><Relationship Id="rId9" Type="http://schemas.openxmlformats.org/officeDocument/2006/relationships/image" Target="../media/image7.tmp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282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3E13BAB-5C7C-4795-BCD7-574942373617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D307130C-C016-4B55-9A51-5634A17379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48E0A941-A777-4BA8-9ECE-C3A2E6E5B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24" name="Tekstfelt 23">
            <a:extLst>
              <a:ext uri="{FF2B5EF4-FFF2-40B4-BE49-F238E27FC236}">
                <a16:creationId xmlns:a16="http://schemas.microsoft.com/office/drawing/2014/main" id="{D9BE3BBE-EFEB-4A31-89D7-5253CBF58A8B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799605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29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035459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3472446"/>
            <a:ext cx="5849938" cy="5708947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37A944-D84C-4361-BACB-1328B071C3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04050"/>
            <a:ext cx="5849938" cy="496076"/>
          </a:xfrm>
        </p:spPr>
        <p:txBody>
          <a:bodyPr vert="horz">
            <a:normAutofit/>
          </a:bodyPr>
          <a:lstStyle>
            <a:lvl1pPr>
              <a:lnSpc>
                <a:spcPts val="2800"/>
              </a:lnSpc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6C37C9F4-217D-4267-84B3-5BD126B46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1100138"/>
            <a:ext cx="5849938" cy="338137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331BE00-0F31-4B74-B5D6-850DDD62F8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000" y="1516380"/>
            <a:ext cx="5849938" cy="1006158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buFont typeface="Arial" panose="020B0604020202020204" pitchFamily="34" charset="0"/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703BC2A-C2EE-40BA-99F1-D8AA19ECE8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1F5CF47-CDBD-488E-B377-645EF45B38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419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831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2563361-28D5-46BD-A43D-357B2F88C6B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D278588-0917-415C-B412-786CFC53E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9711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8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A020C03-93CE-4A83-BBAB-687D63EF000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BCC64E1-4344-47CC-A1C0-10258D55BED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8379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5840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80E9C4-C9B9-4BCE-9A60-9D98A131D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657" y="495300"/>
            <a:ext cx="5849938" cy="2530475"/>
          </a:xfrm>
        </p:spPr>
        <p:txBody>
          <a:bodyPr vert="horz">
            <a:normAutofit/>
          </a:bodyPr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evt. </a:t>
            </a:r>
            <a:r>
              <a:rPr lang="da-DK" dirty="0" err="1"/>
              <a:t>citalt</a:t>
            </a:r>
            <a:endParaRPr lang="da-DK" dirty="0"/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886200"/>
            <a:ext cx="2668588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7" y="4330701"/>
            <a:ext cx="2668588" cy="4057650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35FCA422-C927-48E6-89C3-61F5AB433D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93428" y="3886200"/>
            <a:ext cx="2668588" cy="34861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9" name="Pladsholder til tekst 9">
            <a:extLst>
              <a:ext uri="{FF2B5EF4-FFF2-40B4-BE49-F238E27FC236}">
                <a16:creationId xmlns:a16="http://schemas.microsoft.com/office/drawing/2014/main" id="{A1F193D8-2F40-4CBE-B14E-70D42FF9B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3428" y="7479591"/>
            <a:ext cx="2688908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e teks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4DA6620-B4B5-4834-9824-256E80E8BCE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EABD9DCB-8795-44CC-A2A9-5C1DD660F3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4CAF8641-FAF5-482F-83FB-677DF71AC3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EFE6F655-56A1-4455-8BBA-A076E2A270BD}"/>
              </a:ext>
            </a:extLst>
          </p:cNvPr>
          <p:cNvSpPr txBox="1"/>
          <p:nvPr userDrawn="1"/>
        </p:nvSpPr>
        <p:spPr>
          <a:xfrm>
            <a:off x="7055626" y="39111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8" name="Billede 27">
            <a:extLst>
              <a:ext uri="{FF2B5EF4-FFF2-40B4-BE49-F238E27FC236}">
                <a16:creationId xmlns:a16="http://schemas.microsoft.com/office/drawing/2014/main" id="{8903A759-5854-48A4-B8C4-897E4251CA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4428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7ADD1EA-9279-4526-B21A-EDF98E1429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3334261-7DB5-4DE5-864C-40350063774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3385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43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033594"/>
            <a:ext cx="3916062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6" y="3521676"/>
            <a:ext cx="3916061" cy="5368324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6809754-F9B3-4952-B28D-761D2044B7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2702" y="3521676"/>
            <a:ext cx="1402535" cy="146783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Note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BCC9752-C44F-4D0B-9666-247C9EC43BF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CBD058A-7A26-4CE3-A97D-7BD1FCF3C7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29AA6244-4A24-4FC1-84F2-16BE75F9F0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204A5E0-8647-487B-B01D-C1C951B8D5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D435FF-7679-4BFA-84FC-4C1F35A97E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834326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9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48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502920"/>
            <a:ext cx="2933700" cy="16510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84E32B-46D3-4421-ADCF-252C16D82432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E60D9E1B-07C4-4D4C-8921-DCB6FB91E2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FD7C64A3-5C28-45F4-9808-43F61310A8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D290CC3-BF3B-4BCB-8840-11FE70CC78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4A0EE8F-C7C9-476F-99ED-C311789372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27C695C-D80A-4340-A0DD-166914017A97}"/>
              </a:ext>
            </a:extLst>
          </p:cNvPr>
          <p:cNvSpPr txBox="1"/>
          <p:nvPr userDrawn="1"/>
        </p:nvSpPr>
        <p:spPr>
          <a:xfrm>
            <a:off x="7055627" y="15521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916049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3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737" y="8895913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81C023D-EF68-4E0B-8580-981BBA67BAAB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C8971AF-1920-4163-8C15-4FC8847675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9E8CBB4-86CF-4C4D-8A2C-36D169F15C7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9CB6E08-6ECF-4EA9-9D47-DCDD35C20CFC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6301611-367E-4CFD-A8B2-805CBDD97E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504E98D-7F5F-4334-BC3E-F810969DD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72882DB6-C774-4F20-B05A-A076F2EABC51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27160216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31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37" y="8895913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65DC072-D806-4DE3-B2B6-569A0705CB1D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33FAF50-A11C-4616-A3E0-B6285F85B9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D9E8B1-2617-451E-BCDC-AE6DC32A43E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5C1BA9AB-8B34-4713-AD18-4BE6985F1505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E8F7D96-83D5-43B6-B6A4-4A2B0F5E633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1A97480C-2C38-4EB4-9ED2-94C9EAAD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AF4366B-F480-43DF-86D9-0DCEF6BC8857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903856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85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3E13BAB-5C7C-4795-BCD7-574942373617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D307130C-C016-4B55-9A51-5634A17379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48E0A941-A777-4BA8-9ECE-C3A2E6E5B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24" name="Tekstfelt 23">
            <a:extLst>
              <a:ext uri="{FF2B5EF4-FFF2-40B4-BE49-F238E27FC236}">
                <a16:creationId xmlns:a16="http://schemas.microsoft.com/office/drawing/2014/main" id="{D9BE3BBE-EFEB-4A31-89D7-5253CBF58A8B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3136603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27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8887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428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68929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C904DAD-B9D8-4856-9B28-975F6BF3014D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79F41B-7C99-4CF2-B7AE-C50E7F2C7F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81C66E7-9797-4713-A80E-430945910C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BCBA00D-2CB2-490A-AF23-BB1EE9C6BDAF}"/>
              </a:ext>
            </a:extLst>
          </p:cNvPr>
          <p:cNvSpPr txBox="1"/>
          <p:nvPr userDrawn="1"/>
        </p:nvSpPr>
        <p:spPr>
          <a:xfrm>
            <a:off x="7055627" y="1514475"/>
            <a:ext cx="1914525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kriftfarv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kanten af tekstboksen, under fanen Hjem, kan du ændre skriftfarve 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E10F6D2A-A0D8-41FF-9B7E-436131E2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55627" y="2067047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14F0F1C7-B7C9-4CC9-9297-0008039AFABA}"/>
              </a:ext>
            </a:extLst>
          </p:cNvPr>
          <p:cNvSpPr txBox="1"/>
          <p:nvPr userDrawn="1"/>
        </p:nvSpPr>
        <p:spPr>
          <a:xfrm>
            <a:off x="7055626" y="89006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85EFEE8-4C7F-46ED-8FB1-5A59EC552C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495300"/>
            <a:ext cx="3689350" cy="2476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162489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8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8887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428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68929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C904DAD-B9D8-4856-9B28-975F6BF3014D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79F41B-7C99-4CF2-B7AE-C50E7F2C7F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81C66E7-9797-4713-A80E-430945910C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BCBA00D-2CB2-490A-AF23-BB1EE9C6BDAF}"/>
              </a:ext>
            </a:extLst>
          </p:cNvPr>
          <p:cNvSpPr txBox="1"/>
          <p:nvPr userDrawn="1"/>
        </p:nvSpPr>
        <p:spPr>
          <a:xfrm>
            <a:off x="7055627" y="1514475"/>
            <a:ext cx="1914525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kriftfarv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kanten af tekstboksen, under fanen Hjem, kan du ændre skriftfarve 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E10F6D2A-A0D8-41FF-9B7E-436131E2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55627" y="2067047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14F0F1C7-B7C9-4CC9-9297-0008039AFABA}"/>
              </a:ext>
            </a:extLst>
          </p:cNvPr>
          <p:cNvSpPr txBox="1"/>
          <p:nvPr userDrawn="1"/>
        </p:nvSpPr>
        <p:spPr>
          <a:xfrm>
            <a:off x="7055626" y="89006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85EFEE8-4C7F-46ED-8FB1-5A59EC552C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495300"/>
            <a:ext cx="3689350" cy="2476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366444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606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25EF22-4241-49B2-BE23-CE33D45BEECC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27F2479-2D8B-4EF1-861C-936FDFA402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B58D782-E2AD-4860-8C5E-37C0572757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83A590A-CEF3-49FB-88DD-B7F23EA08FE3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9523DB2-F932-4FAB-8F2C-225ADE6501C2}"/>
              </a:ext>
            </a:extLst>
          </p:cNvPr>
          <p:cNvSpPr txBox="1"/>
          <p:nvPr userDrawn="1"/>
        </p:nvSpPr>
        <p:spPr>
          <a:xfrm>
            <a:off x="70429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D8FDCD1-C968-4C48-A821-D42307FFD74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584775"/>
            <a:ext cx="304721" cy="193238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5371C10F-6E7D-484C-860D-FC302CA68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0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56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C45786-B072-426A-91BC-12F768CE36C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34068A2-B414-45B7-892C-23F2A88B0F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B3178DA-78FD-433A-93C5-6D1FC03697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32C0A704-B07C-409C-97A8-3F8F10134F5D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03FDC73-63C6-414C-9364-C941558E0B74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622017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66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0E36EDD-0903-4861-AA21-0174374273DC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ED43425-7139-407E-B0D7-BEA87A3DF7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BF1C071-7E4D-41A8-BA13-D6D8529918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B2CCCC3F-418C-4F7F-944D-6453AB3C7A03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1460A12-BC25-4EF4-8558-FF92D3AF9EDE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742624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4" y="5345113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4" y="7375527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C74453FF-55EF-4B85-9E9E-E2524AE744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0834" y="1519238"/>
            <a:ext cx="5840413" cy="3470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0EC41545-31F2-4790-9FBF-D8E0FC81B99E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D387DF33-5A5B-465F-B7C5-5E9B74840E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8144E7-5176-4C91-A6D1-32BDED9AB4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6D70737C-83A9-4440-B9FE-EEFEE5D9EDD6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5054E60-DC26-41FA-A91D-15F5D445CC80}"/>
              </a:ext>
            </a:extLst>
          </p:cNvPr>
          <p:cNvSpPr txBox="1"/>
          <p:nvPr userDrawn="1"/>
        </p:nvSpPr>
        <p:spPr>
          <a:xfrm>
            <a:off x="70429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7F8F0F5-4242-475A-9D60-22B19C6AC98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5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053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0341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FCF736EB-9D69-4B6B-BC80-4D9EBCD74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650" y="501650"/>
            <a:ext cx="5843588" cy="86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7900" y="787400"/>
            <a:ext cx="2451100" cy="13589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AF4941EA-027A-4D5D-AE44-2F5608489A39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EA326E3-B8CB-4843-A1D4-37D2F06FB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DA3F916-A52E-470F-A8FE-4A555FC46D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D0A73DA-2CA6-44D5-8FC0-1EF128892044}"/>
              </a:ext>
            </a:extLst>
          </p:cNvPr>
          <p:cNvSpPr txBox="1"/>
          <p:nvPr userDrawn="1"/>
        </p:nvSpPr>
        <p:spPr>
          <a:xfrm>
            <a:off x="70556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1ECC8F86-FABD-44A5-BFC0-928731936A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DEB2AE85-7782-49D5-82BC-B5D41C3563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D70CBBC-E03E-4886-BFA7-1EE5469CC0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148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528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500380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5077854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988736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6370638"/>
            <a:ext cx="5849938" cy="2519362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0BCBAE-C569-48CA-889B-B812E521E8C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21FF0AF8-9F52-48D7-B981-0F6B8C675A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150F6B6D-78FA-41F8-AE49-6978C84FC7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3FFB0F68-25CE-4848-8197-D3E79E2AA011}"/>
              </a:ext>
            </a:extLst>
          </p:cNvPr>
          <p:cNvSpPr txBox="1"/>
          <p:nvPr userDrawn="1"/>
        </p:nvSpPr>
        <p:spPr>
          <a:xfrm>
            <a:off x="7055626" y="15235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9" name="Billede 28">
            <a:extLst>
              <a:ext uri="{FF2B5EF4-FFF2-40B4-BE49-F238E27FC236}">
                <a16:creationId xmlns:a16="http://schemas.microsoft.com/office/drawing/2014/main" id="{1E6CE144-E233-4F7B-889A-4F1F0C047B5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0552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3115E6F-FEE9-495E-95BD-B3B2CB5F6D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C4A539D-5C36-4756-89CF-FD7592FAB8B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3954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188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4256852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8834326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02320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884222"/>
            <a:ext cx="5849938" cy="272410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442B906-2A5A-4DBF-A76D-49048425EA14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527A158-5FEE-4787-95F8-73F8B1496F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EEBB8D1D-D041-4F84-98E0-D40F4BB6EC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18C0437D-0903-482A-B7A1-E94EA4E7CA8C}"/>
              </a:ext>
            </a:extLst>
          </p:cNvPr>
          <p:cNvSpPr txBox="1"/>
          <p:nvPr userDrawn="1"/>
        </p:nvSpPr>
        <p:spPr>
          <a:xfrm>
            <a:off x="7055626" y="42794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4C24EEA2-A8BF-44AA-93AF-0C6D5C1D12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8111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07FF9A7-2DFC-4E99-A9F1-02DBAD8E8F7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CEC9C8F-9CD1-42AB-868B-E2B91F58B1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9445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77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035459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3472446"/>
            <a:ext cx="5849938" cy="5708947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37A944-D84C-4361-BACB-1328B071C3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04050"/>
            <a:ext cx="5849938" cy="496076"/>
          </a:xfrm>
        </p:spPr>
        <p:txBody>
          <a:bodyPr vert="horz">
            <a:normAutofit/>
          </a:bodyPr>
          <a:lstStyle>
            <a:lvl1pPr>
              <a:lnSpc>
                <a:spcPts val="2800"/>
              </a:lnSpc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6C37C9F4-217D-4267-84B3-5BD126B46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1100138"/>
            <a:ext cx="5849938" cy="338137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331BE00-0F31-4B74-B5D6-850DDD62F8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000" y="1516380"/>
            <a:ext cx="5849938" cy="1006158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buFont typeface="Arial" panose="020B0604020202020204" pitchFamily="34" charset="0"/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4578EE3-CA27-49D1-B14D-21DC479F69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182B2B64-EA17-4547-BF6B-7A1C592CC22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54972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74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E5887FD-F2EB-4439-A066-4E9B909E7EF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F2E9060-48A0-4CDF-8488-864648DB69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25241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795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19D7D1D-E715-4E91-B354-DD92D02D2D3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99AD4AE-CDC8-4813-B83A-2BC6FCB1CA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4129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31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25EF22-4241-49B2-BE23-CE33D45BEECC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27F2479-2D8B-4EF1-861C-936FDFA402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B58D782-E2AD-4860-8C5E-37C0572757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83A590A-CEF3-49FB-88DD-B7F23EA08FE3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9523DB2-F932-4FAB-8F2C-225ADE6501C2}"/>
              </a:ext>
            </a:extLst>
          </p:cNvPr>
          <p:cNvSpPr txBox="1"/>
          <p:nvPr userDrawn="1"/>
        </p:nvSpPr>
        <p:spPr>
          <a:xfrm>
            <a:off x="70429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D8FDCD1-C968-4C48-A821-D42307FFD74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584775"/>
            <a:ext cx="304721" cy="193238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5371C10F-6E7D-484C-860D-FC302CA68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647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68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80E9C4-C9B9-4BCE-9A60-9D98A131D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657" y="495300"/>
            <a:ext cx="5849938" cy="2530475"/>
          </a:xfrm>
        </p:spPr>
        <p:txBody>
          <a:bodyPr vert="horz">
            <a:normAutofit/>
          </a:bodyPr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evt. </a:t>
            </a:r>
            <a:r>
              <a:rPr lang="da-DK" dirty="0" err="1"/>
              <a:t>citalt</a:t>
            </a:r>
            <a:endParaRPr lang="da-DK" dirty="0"/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886200"/>
            <a:ext cx="2668588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7" y="4330701"/>
            <a:ext cx="2668588" cy="4057650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35FCA422-C927-48E6-89C3-61F5AB433D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93428" y="3886200"/>
            <a:ext cx="2668588" cy="3486150"/>
          </a:xfrm>
        </p:spPr>
        <p:txBody>
          <a:bodyPr/>
          <a:lstStyle/>
          <a:p>
            <a:endParaRPr lang="da-DK"/>
          </a:p>
        </p:txBody>
      </p:sp>
      <p:sp>
        <p:nvSpPr>
          <p:cNvPr id="19" name="Pladsholder til tekst 9">
            <a:extLst>
              <a:ext uri="{FF2B5EF4-FFF2-40B4-BE49-F238E27FC236}">
                <a16:creationId xmlns:a16="http://schemas.microsoft.com/office/drawing/2014/main" id="{A1F193D8-2F40-4CBE-B14E-70D42FF9B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3428" y="7479591"/>
            <a:ext cx="2688908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4DA6620-B4B5-4834-9824-256E80E8BCE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EABD9DCB-8795-44CC-A2A9-5C1DD660F3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4CAF8641-FAF5-482F-83FB-677DF71AC3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EFE6F655-56A1-4455-8BBA-A076E2A270BD}"/>
              </a:ext>
            </a:extLst>
          </p:cNvPr>
          <p:cNvSpPr txBox="1"/>
          <p:nvPr userDrawn="1"/>
        </p:nvSpPr>
        <p:spPr>
          <a:xfrm>
            <a:off x="7055626" y="39111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8" name="Billede 27">
            <a:extLst>
              <a:ext uri="{FF2B5EF4-FFF2-40B4-BE49-F238E27FC236}">
                <a16:creationId xmlns:a16="http://schemas.microsoft.com/office/drawing/2014/main" id="{8903A759-5854-48A4-B8C4-897E4251CA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4428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CB5D99E-4251-443B-B579-F6BB9F2C4B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72119E5A-A375-47FD-A7A3-11421ED839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11010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29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033594"/>
            <a:ext cx="3916062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6" y="3521676"/>
            <a:ext cx="3916061" cy="5368324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6809754-F9B3-4952-B28D-761D2044B7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2702" y="3521676"/>
            <a:ext cx="1402535" cy="146783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Note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BCC9752-C44F-4D0B-9666-247C9EC43BF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CBD058A-7A26-4CE3-A97D-7BD1FCF3C7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29AA6244-4A24-4FC1-84F2-16BE75F9F0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D5C340EC-F144-4F36-9717-272D99C597A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1AEBE1C-A6CF-4921-984D-84770766BE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60114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9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43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502920"/>
            <a:ext cx="2933700" cy="16510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e 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84E32B-46D3-4421-ADCF-252C16D82432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E60D9E1B-07C4-4D4C-8921-DCB6FB91E2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FD7C64A3-5C28-45F4-9808-43F61310A8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F72D78AC-BACD-4182-95B9-AF99FB64FB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C299055-1759-4596-8D27-EA1A7B7E71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040F99C2-3851-4279-9EA5-05E73F31808A}"/>
              </a:ext>
            </a:extLst>
          </p:cNvPr>
          <p:cNvSpPr txBox="1"/>
          <p:nvPr userDrawn="1"/>
        </p:nvSpPr>
        <p:spPr>
          <a:xfrm>
            <a:off x="7055627" y="158073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881045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506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737" y="8895913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81C023D-EF68-4E0B-8580-981BBA67BAAB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C8971AF-1920-4163-8C15-4FC8847675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9E8CBB4-86CF-4C4D-8A2C-36D169F15C7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9CB6E08-6ECF-4EA9-9D47-DCDD35C20CFC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6301611-367E-4CFD-A8B2-805CBDD97E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504E98D-7F5F-4334-BC3E-F810969DD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72882DB6-C774-4F20-B05A-A076F2EABC51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7699588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32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37" y="8895913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65DC072-D806-4DE3-B2B6-569A0705CB1D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33FAF50-A11C-4616-A3E0-B6285F85B9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D9E8B1-2617-451E-BCDC-AE6DC32A43E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5C1BA9AB-8B34-4713-AD18-4BE6985F1505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E8F7D96-83D5-43B6-B6A4-4A2B0F5E633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1A97480C-2C38-4EB4-9ED2-94C9EAAD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AF4366B-F480-43DF-86D9-0DCEF6BC8857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4053977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552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C45786-B072-426A-91BC-12F768CE36C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34068A2-B414-45B7-892C-23F2A88B0F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B3178DA-78FD-433A-93C5-6D1FC03697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32C0A704-B07C-409C-97A8-3F8F10134F5D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2D4C1C68-5796-43A7-A6A0-4708F5FD16C5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284696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kstfelt 18">
            <a:extLst>
              <a:ext uri="{FF2B5EF4-FFF2-40B4-BE49-F238E27FC236}">
                <a16:creationId xmlns:a16="http://schemas.microsoft.com/office/drawing/2014/main" id="{38A0BC56-0558-43E8-93CF-D2DE7B2829F5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94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0E36EDD-0903-4861-AA21-0174374273DC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ED43425-7139-407E-B0D7-BEA87A3DF7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BF1C071-7E4D-41A8-BA13-D6D8529918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B2CCCC3F-418C-4F7F-944D-6453AB3C7A03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94796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854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4" y="5345113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4" y="7375527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C74453FF-55EF-4B85-9E9E-E2524AE744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0834" y="1519238"/>
            <a:ext cx="5840413" cy="3470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0EC41545-31F2-4790-9FBF-D8E0FC81B99E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D387DF33-5A5B-465F-B7C5-5E9B74840E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8144E7-5176-4C91-A6D1-32BDED9AB4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6D70737C-83A9-4440-B9FE-EEFEE5D9EDD6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5054E60-DC26-41FA-A91D-15F5D445CC80}"/>
              </a:ext>
            </a:extLst>
          </p:cNvPr>
          <p:cNvSpPr txBox="1"/>
          <p:nvPr userDrawn="1"/>
        </p:nvSpPr>
        <p:spPr>
          <a:xfrm>
            <a:off x="70429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7F8F0F5-4242-475A-9D60-22B19C6AC98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5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248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097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FCF736EB-9D69-4B6B-BC80-4D9EBCD74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650" y="501650"/>
            <a:ext cx="5843588" cy="86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7900" y="787400"/>
            <a:ext cx="2451100" cy="13589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AF4941EA-027A-4D5D-AE44-2F5608489A39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EA326E3-B8CB-4843-A1D4-37D2F06FB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DA3F916-A52E-470F-A8FE-4A555FC46D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D0A73DA-2CA6-44D5-8FC0-1EF128892044}"/>
              </a:ext>
            </a:extLst>
          </p:cNvPr>
          <p:cNvSpPr txBox="1"/>
          <p:nvPr userDrawn="1"/>
        </p:nvSpPr>
        <p:spPr>
          <a:xfrm>
            <a:off x="70556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1ECC8F86-FABD-44A5-BFC0-928731936A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93A54F1-064D-40D7-9E0E-26B97B0B1E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0306F8-5D96-43D3-BD37-1132F54C9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35565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72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500380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5077854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988736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6370638"/>
            <a:ext cx="5849938" cy="2519362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0BCBAE-C569-48CA-889B-B812E521E8C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21FF0AF8-9F52-48D7-B981-0F6B8C675A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150F6B6D-78FA-41F8-AE49-6978C84FC7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3FFB0F68-25CE-4848-8197-D3E79E2AA011}"/>
              </a:ext>
            </a:extLst>
          </p:cNvPr>
          <p:cNvSpPr txBox="1"/>
          <p:nvPr userDrawn="1"/>
        </p:nvSpPr>
        <p:spPr>
          <a:xfrm>
            <a:off x="7055626" y="15235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9" name="Billede 28">
            <a:extLst>
              <a:ext uri="{FF2B5EF4-FFF2-40B4-BE49-F238E27FC236}">
                <a16:creationId xmlns:a16="http://schemas.microsoft.com/office/drawing/2014/main" id="{1E6CE144-E233-4F7B-889A-4F1F0C047B5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0552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CD5B7369-6B23-4C3E-B107-D5C40F15A40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02BD18F-5639-4CAE-AA7A-39836FD1BE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67579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0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4256852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8834326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02320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884222"/>
            <a:ext cx="5849938" cy="272410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442B906-2A5A-4DBF-A76D-49048425EA14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527A158-5FEE-4787-95F8-73F8B1496F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EEBB8D1D-D041-4F84-98E0-D40F4BB6EC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18C0437D-0903-482A-B7A1-E94EA4E7CA8C}"/>
              </a:ext>
            </a:extLst>
          </p:cNvPr>
          <p:cNvSpPr txBox="1"/>
          <p:nvPr userDrawn="1"/>
        </p:nvSpPr>
        <p:spPr>
          <a:xfrm>
            <a:off x="7055626" y="42794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4C24EEA2-A8BF-44AA-93AF-0C6D5C1D12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8111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50914E9-9393-496D-B9CF-908EEB0100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A288459-8796-4BE8-8C52-F856FA7778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46698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19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38CFF1-0063-4A2B-B1DE-C1752EE0E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7484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38CFF1-0063-4A2B-B1DE-C1752EE0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292CD6C-EB9B-4664-8A14-60837D2BE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504950"/>
            <a:ext cx="5849938" cy="1520825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08410E-C889-4328-A904-15EA9F51B9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1" y="4989513"/>
            <a:ext cx="5837237" cy="3398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C29153-9367-4577-8605-8FB164153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0625" y="9398879"/>
            <a:ext cx="2314575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C6B3932-1F52-4FB7-A746-145DAF287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45200" y="9399587"/>
            <a:ext cx="300038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6A00974-7166-43A5-AF41-84C9F08FD799}"/>
              </a:ext>
            </a:extLst>
          </p:cNvPr>
          <p:cNvSpPr/>
          <p:nvPr userDrawn="1"/>
        </p:nvSpPr>
        <p:spPr>
          <a:xfrm>
            <a:off x="0" y="-343"/>
            <a:ext cx="6858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DAF5C66-8D97-4BFA-85A2-E41557190F7D}"/>
              </a:ext>
            </a:extLst>
          </p:cNvPr>
          <p:cNvSpPr/>
          <p:nvPr userDrawn="1"/>
        </p:nvSpPr>
        <p:spPr>
          <a:xfrm>
            <a:off x="0" y="9664357"/>
            <a:ext cx="6858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1EA93311-A444-448B-B830-35D1BC42EDE2}"/>
              </a:ext>
            </a:extLst>
          </p:cNvPr>
          <p:cNvSpPr/>
          <p:nvPr userDrawn="1"/>
        </p:nvSpPr>
        <p:spPr>
          <a:xfrm rot="16200000">
            <a:off x="-4825175" y="4827657"/>
            <a:ext cx="9900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0F0F3EB-500E-402B-A430-AF025DB7612D}"/>
              </a:ext>
            </a:extLst>
          </p:cNvPr>
          <p:cNvSpPr/>
          <p:nvPr userDrawn="1"/>
        </p:nvSpPr>
        <p:spPr>
          <a:xfrm rot="16200000">
            <a:off x="1777475" y="4831773"/>
            <a:ext cx="9900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66E521CB-EF64-4C96-86B8-F4C3ED4CFD4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3322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93" r:id="rId11"/>
    <p:sldLayoutId id="2147483711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l" defTabSz="1320759" rtl="0" eaLnBrk="1" latinLnBrk="0" hangingPunct="1">
        <a:lnSpc>
          <a:spcPts val="42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43">
          <p15:clr>
            <a:srgbClr val="F26B43"/>
          </p15:clr>
        </p15:guide>
        <p15:guide id="2" pos="2160">
          <p15:clr>
            <a:srgbClr val="F26B43"/>
          </p15:clr>
        </p15:guide>
        <p15:guide id="3" pos="2001">
          <p15:clr>
            <a:srgbClr val="F26B43"/>
          </p15:clr>
        </p15:guide>
        <p15:guide id="4" pos="2319">
          <p15:clr>
            <a:srgbClr val="F26B43"/>
          </p15:clr>
        </p15:guide>
        <p15:guide id="5" pos="1363">
          <p15:clr>
            <a:srgbClr val="F26B43"/>
          </p15:clr>
        </p15:guide>
        <p15:guide id="6" pos="2636">
          <p15:clr>
            <a:srgbClr val="F26B43"/>
          </p15:clr>
        </p15:guide>
        <p15:guide id="7" pos="2954">
          <p15:clr>
            <a:srgbClr val="F26B43"/>
          </p15:clr>
        </p15:guide>
        <p15:guide id="8" pos="3271">
          <p15:clr>
            <a:srgbClr val="F26B43"/>
          </p15:clr>
        </p15:guide>
        <p15:guide id="9" pos="1661" userDrawn="1">
          <p15:clr>
            <a:srgbClr val="F26B43"/>
          </p15:clr>
        </p15:guide>
        <p15:guide id="10" pos="1042">
          <p15:clr>
            <a:srgbClr val="F26B43"/>
          </p15:clr>
        </p15:guide>
        <p15:guide id="11" pos="312">
          <p15:clr>
            <a:srgbClr val="F26B43"/>
          </p15:clr>
        </p15:guide>
        <p15:guide id="12" pos="158">
          <p15:clr>
            <a:srgbClr val="F26B43"/>
          </p15:clr>
        </p15:guide>
        <p15:guide id="13" pos="3997">
          <p15:clr>
            <a:srgbClr val="F26B43"/>
          </p15:clr>
        </p15:guide>
        <p15:guide id="14" pos="4156">
          <p15:clr>
            <a:srgbClr val="F26B43"/>
          </p15:clr>
        </p15:guide>
        <p15:guide id="15" orient="horz" pos="158">
          <p15:clr>
            <a:srgbClr val="F26B43"/>
          </p15:clr>
        </p15:guide>
        <p15:guide id="16" orient="horz" pos="312">
          <p15:clr>
            <a:srgbClr val="F26B43"/>
          </p15:clr>
        </p15:guide>
        <p15:guide id="17" orient="horz" pos="951">
          <p15:clr>
            <a:srgbClr val="F26B43"/>
          </p15:clr>
        </p15:guide>
        <p15:guide id="18" orient="horz" pos="1589">
          <p15:clr>
            <a:srgbClr val="F26B43"/>
          </p15:clr>
        </p15:guide>
        <p15:guide id="19" orient="horz" pos="1906">
          <p15:clr>
            <a:srgbClr val="F26B43"/>
          </p15:clr>
        </p15:guide>
        <p15:guide id="20" orient="horz" pos="5920">
          <p15:clr>
            <a:srgbClr val="F26B43"/>
          </p15:clr>
        </p15:guide>
        <p15:guide id="21" orient="horz" pos="5600">
          <p15:clr>
            <a:srgbClr val="F26B43"/>
          </p15:clr>
        </p15:guide>
        <p15:guide id="22" orient="horz" pos="5284">
          <p15:clr>
            <a:srgbClr val="F26B43"/>
          </p15:clr>
        </p15:guide>
        <p15:guide id="23" orient="horz" pos="4644">
          <p15:clr>
            <a:srgbClr val="F26B43"/>
          </p15:clr>
        </p15:guide>
        <p15:guide id="24" orient="horz" pos="630">
          <p15:clr>
            <a:srgbClr val="F26B43"/>
          </p15:clr>
        </p15:guide>
        <p15:guide id="25" orient="horz" pos="4326">
          <p15:clr>
            <a:srgbClr val="F26B43"/>
          </p15:clr>
        </p15:guide>
        <p15:guide id="26" orient="horz" pos="400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38CFF1-0063-4A2B-B1DE-C1752EE0E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358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38CFF1-0063-4A2B-B1DE-C1752EE0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292CD6C-EB9B-4664-8A14-60837D2BE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504950"/>
            <a:ext cx="5849938" cy="1520825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08410E-C889-4328-A904-15EA9F51B9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1" y="4989513"/>
            <a:ext cx="5837237" cy="3398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C29153-9367-4577-8605-8FB164153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0625" y="9398879"/>
            <a:ext cx="2314575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C6B3932-1F52-4FB7-A746-145DAF287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45200" y="9399587"/>
            <a:ext cx="300038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8C680134-6276-40D7-902A-F9AB97D60F84}"/>
              </a:ext>
            </a:extLst>
          </p:cNvPr>
          <p:cNvSpPr txBox="1"/>
          <p:nvPr userDrawn="1"/>
        </p:nvSpPr>
        <p:spPr>
          <a:xfrm rot="16200000">
            <a:off x="-582152" y="357836"/>
            <a:ext cx="876857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3900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12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ftr="0" dt="0"/>
  <p:txStyles>
    <p:titleStyle>
      <a:lvl1pPr algn="l" defTabSz="1320759" rtl="0" eaLnBrk="1" latinLnBrk="0" hangingPunct="1">
        <a:lnSpc>
          <a:spcPts val="42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43">
          <p15:clr>
            <a:srgbClr val="F26B43"/>
          </p15:clr>
        </p15:guide>
        <p15:guide id="2" pos="2160">
          <p15:clr>
            <a:srgbClr val="F26B43"/>
          </p15:clr>
        </p15:guide>
        <p15:guide id="3" pos="2001">
          <p15:clr>
            <a:srgbClr val="F26B43"/>
          </p15:clr>
        </p15:guide>
        <p15:guide id="4" pos="2319">
          <p15:clr>
            <a:srgbClr val="F26B43"/>
          </p15:clr>
        </p15:guide>
        <p15:guide id="5" pos="1363">
          <p15:clr>
            <a:srgbClr val="F26B43"/>
          </p15:clr>
        </p15:guide>
        <p15:guide id="6" pos="2636">
          <p15:clr>
            <a:srgbClr val="F26B43"/>
          </p15:clr>
        </p15:guide>
        <p15:guide id="7" pos="2954">
          <p15:clr>
            <a:srgbClr val="F26B43"/>
          </p15:clr>
        </p15:guide>
        <p15:guide id="8" pos="3271">
          <p15:clr>
            <a:srgbClr val="F26B43"/>
          </p15:clr>
        </p15:guide>
        <p15:guide id="9" pos="1661" userDrawn="1">
          <p15:clr>
            <a:srgbClr val="F26B43"/>
          </p15:clr>
        </p15:guide>
        <p15:guide id="10" pos="1042">
          <p15:clr>
            <a:srgbClr val="F26B43"/>
          </p15:clr>
        </p15:guide>
        <p15:guide id="11" pos="312">
          <p15:clr>
            <a:srgbClr val="F26B43"/>
          </p15:clr>
        </p15:guide>
        <p15:guide id="12" pos="158">
          <p15:clr>
            <a:srgbClr val="F26B43"/>
          </p15:clr>
        </p15:guide>
        <p15:guide id="13" pos="3997">
          <p15:clr>
            <a:srgbClr val="F26B43"/>
          </p15:clr>
        </p15:guide>
        <p15:guide id="14" pos="4156">
          <p15:clr>
            <a:srgbClr val="F26B43"/>
          </p15:clr>
        </p15:guide>
        <p15:guide id="15" orient="horz" pos="158">
          <p15:clr>
            <a:srgbClr val="F26B43"/>
          </p15:clr>
        </p15:guide>
        <p15:guide id="16" orient="horz" pos="312">
          <p15:clr>
            <a:srgbClr val="F26B43"/>
          </p15:clr>
        </p15:guide>
        <p15:guide id="17" orient="horz" pos="951">
          <p15:clr>
            <a:srgbClr val="F26B43"/>
          </p15:clr>
        </p15:guide>
        <p15:guide id="18" orient="horz" pos="1589">
          <p15:clr>
            <a:srgbClr val="F26B43"/>
          </p15:clr>
        </p15:guide>
        <p15:guide id="19" orient="horz" pos="1906">
          <p15:clr>
            <a:srgbClr val="F26B43"/>
          </p15:clr>
        </p15:guide>
        <p15:guide id="20" orient="horz" pos="5920">
          <p15:clr>
            <a:srgbClr val="F26B43"/>
          </p15:clr>
        </p15:guide>
        <p15:guide id="21" orient="horz" pos="5600">
          <p15:clr>
            <a:srgbClr val="F26B43"/>
          </p15:clr>
        </p15:guide>
        <p15:guide id="22" orient="horz" pos="5284">
          <p15:clr>
            <a:srgbClr val="F26B43"/>
          </p15:clr>
        </p15:guide>
        <p15:guide id="23" orient="horz" pos="4644">
          <p15:clr>
            <a:srgbClr val="F26B43"/>
          </p15:clr>
        </p15:guide>
        <p15:guide id="24" orient="horz" pos="630">
          <p15:clr>
            <a:srgbClr val="F26B43"/>
          </p15:clr>
        </p15:guide>
        <p15:guide id="25" orient="horz" pos="4326">
          <p15:clr>
            <a:srgbClr val="F26B43"/>
          </p15:clr>
        </p15:guide>
        <p15:guide id="26" orient="horz" pos="400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B0432B5-4878-4BF2-BF2E-3ED454A21B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99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aml kræfterne 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FBC7E40-5CAA-4E08-9543-6CEE947DF6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#alle tiders </a:t>
            </a:r>
            <a:r>
              <a:rPr lang="da-DK" dirty="0" smtClean="0"/>
              <a:t>sundhed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1"/>
          </p:nvPr>
        </p:nvSpPr>
        <p:spPr>
          <a:xfrm>
            <a:off x="510832" y="7427455"/>
            <a:ext cx="4681881" cy="386179"/>
          </a:xfrm>
        </p:spPr>
        <p:txBody>
          <a:bodyPr/>
          <a:lstStyle/>
          <a:p>
            <a:r>
              <a:rPr lang="da-DK" dirty="0"/>
              <a:t>Kræftcafé til dig, der har eller har haft en kræftsygdom 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56086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5"/>
          </p:nvPr>
        </p:nvSpPr>
        <p:spPr>
          <a:xfrm>
            <a:off x="507999" y="502311"/>
            <a:ext cx="5006110" cy="399731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>
          <a:xfrm>
            <a:off x="521728" y="902042"/>
            <a:ext cx="5849938" cy="8181268"/>
          </a:xfrm>
        </p:spPr>
        <p:txBody>
          <a:bodyPr/>
          <a:lstStyle/>
          <a:p>
            <a:endParaRPr lang="da-DK" dirty="0" smtClean="0"/>
          </a:p>
          <a:p>
            <a:r>
              <a:rPr lang="da-DK" dirty="0" smtClean="0"/>
              <a:t>Hvis du er tilknyttet et rehabiliteringsforløb i forhold til kræft, så kan du komme forbi og besøge vores café. </a:t>
            </a:r>
          </a:p>
          <a:p>
            <a:endParaRPr lang="da-DK" dirty="0"/>
          </a:p>
          <a:p>
            <a:r>
              <a:rPr lang="da-DK" dirty="0" smtClean="0"/>
              <a:t>Her er der mulighed for at møde </a:t>
            </a:r>
            <a:r>
              <a:rPr lang="da-DK" dirty="0"/>
              <a:t>andre i samme </a:t>
            </a:r>
            <a:r>
              <a:rPr lang="da-DK" dirty="0" smtClean="0"/>
              <a:t>situation, udveksle erfaringer</a:t>
            </a:r>
            <a:r>
              <a:rPr lang="da-DK" dirty="0"/>
              <a:t> </a:t>
            </a:r>
            <a:r>
              <a:rPr lang="da-DK" dirty="0" smtClean="0"/>
              <a:t>og danne netværk. </a:t>
            </a:r>
            <a:endParaRPr lang="da-DK" dirty="0"/>
          </a:p>
          <a:p>
            <a:r>
              <a:rPr lang="da-DK" dirty="0"/>
              <a:t> </a:t>
            </a:r>
            <a:endParaRPr lang="da-DK" dirty="0" smtClean="0">
              <a:latin typeface="+mn-lt"/>
            </a:endParaRPr>
          </a:p>
          <a:p>
            <a:r>
              <a:rPr lang="da-DK" b="1" dirty="0" smtClean="0">
                <a:latin typeface="+mn-lt"/>
              </a:rPr>
              <a:t>Hvornår er caféen åben? </a:t>
            </a:r>
            <a:endParaRPr lang="da-DK" b="1" dirty="0">
              <a:latin typeface="+mn-lt"/>
            </a:endParaRPr>
          </a:p>
          <a:p>
            <a:r>
              <a:rPr lang="da-DK" dirty="0" smtClean="0"/>
              <a:t>Tirsdage i lige uger fra kl</a:t>
            </a:r>
            <a:r>
              <a:rPr lang="da-DK" dirty="0"/>
              <a:t>. </a:t>
            </a:r>
            <a:r>
              <a:rPr lang="da-DK" dirty="0" smtClean="0"/>
              <a:t>10.00 </a:t>
            </a:r>
            <a:r>
              <a:rPr lang="da-DK" dirty="0"/>
              <a:t>- </a:t>
            </a:r>
            <a:r>
              <a:rPr lang="da-DK" dirty="0" smtClean="0"/>
              <a:t>11.00. </a:t>
            </a:r>
          </a:p>
          <a:p>
            <a:r>
              <a:rPr lang="da-DK" dirty="0" smtClean="0"/>
              <a:t>Vi mødes på Hyrdehøj Plejecenter, stueplan, Hyrdehøj Stræde 2, 4000 Roskilde.</a:t>
            </a:r>
            <a:r>
              <a:rPr lang="da-DK" dirty="0"/>
              <a:t> </a:t>
            </a:r>
            <a:endParaRPr lang="da-DK" dirty="0" smtClean="0"/>
          </a:p>
          <a:p>
            <a:endParaRPr lang="da-DK" dirty="0"/>
          </a:p>
          <a:p>
            <a:r>
              <a:rPr lang="da-DK" b="1" dirty="0" smtClean="0">
                <a:latin typeface="+mn-lt"/>
              </a:rPr>
              <a:t>Kan jeg bare komme forbi caféen? </a:t>
            </a:r>
          </a:p>
          <a:p>
            <a:r>
              <a:rPr lang="da-DK" dirty="0" smtClean="0"/>
              <a:t>Du kan møde op i caféen, så snart du har fået en henvisning af en træningsterapeut eller kræftkoordinator </a:t>
            </a:r>
            <a:r>
              <a:rPr lang="da-DK" dirty="0"/>
              <a:t>i</a:t>
            </a:r>
            <a:r>
              <a:rPr lang="da-DK" dirty="0" smtClean="0"/>
              <a:t> Træning og Sundhed. </a:t>
            </a:r>
          </a:p>
          <a:p>
            <a:endParaRPr lang="da-DK" dirty="0"/>
          </a:p>
          <a:p>
            <a:r>
              <a:rPr lang="da-DK" dirty="0" smtClean="0"/>
              <a:t>Du kan kontakte Kræftkoordinator i Træning og Sundhed på telefon: 46 31 77 02</a:t>
            </a:r>
          </a:p>
          <a:p>
            <a:endParaRPr lang="da-DK" dirty="0"/>
          </a:p>
          <a:p>
            <a:r>
              <a:rPr lang="da-DK" b="1" dirty="0" smtClean="0">
                <a:latin typeface="+mn-lt"/>
              </a:rPr>
              <a:t>Hvad sker der i caféen? </a:t>
            </a:r>
            <a:r>
              <a:rPr lang="da-DK" dirty="0">
                <a:latin typeface="+mn-lt"/>
              </a:rPr>
              <a:t> </a:t>
            </a:r>
            <a:endParaRPr lang="da-DK" dirty="0" smtClean="0">
              <a:latin typeface="+mn-lt"/>
            </a:endParaRPr>
          </a:p>
          <a:p>
            <a:r>
              <a:rPr lang="da-DK" dirty="0" smtClean="0"/>
              <a:t>Vi snakker om forskellige emner, som er relateret til kræft. Alle kan komme med input til emner, som de gerne vil snakke om i caféen. </a:t>
            </a:r>
          </a:p>
          <a:p>
            <a:endParaRPr lang="da-DK" dirty="0"/>
          </a:p>
          <a:p>
            <a:r>
              <a:rPr lang="da-DK" b="1" dirty="0" smtClean="0"/>
              <a:t>Programmet efter år 2025</a:t>
            </a:r>
            <a:endParaRPr lang="da-DK" dirty="0"/>
          </a:p>
          <a:p>
            <a:r>
              <a:rPr lang="da-DK" dirty="0"/>
              <a:t>I </a:t>
            </a:r>
            <a:r>
              <a:rPr lang="da-DK" dirty="0" smtClean="0"/>
              <a:t>efterår 2025 </a:t>
            </a:r>
            <a:r>
              <a:rPr lang="da-DK" dirty="0"/>
              <a:t>er der planlægt en række forskellige emner. </a:t>
            </a:r>
            <a:endParaRPr lang="da-DK" dirty="0" smtClean="0"/>
          </a:p>
          <a:p>
            <a:endParaRPr lang="da-DK" dirty="0" smtClean="0"/>
          </a:p>
          <a:p>
            <a:r>
              <a:rPr lang="da-DK" dirty="0" smtClean="0"/>
              <a:t>12.August	Senfølger og bivirkninger V. Trine og Nina</a:t>
            </a:r>
          </a:p>
          <a:p>
            <a:r>
              <a:rPr lang="da-DK" dirty="0" smtClean="0"/>
              <a:t>19 August 	Kvindelighed V. </a:t>
            </a:r>
            <a:r>
              <a:rPr lang="da-DK" smtClean="0"/>
              <a:t>Trine og Nina</a:t>
            </a:r>
            <a:endParaRPr lang="da-DK" dirty="0" smtClean="0"/>
          </a:p>
          <a:p>
            <a:endParaRPr lang="da-DK" dirty="0"/>
          </a:p>
          <a:p>
            <a:r>
              <a:rPr lang="da-DK" dirty="0" smtClean="0"/>
              <a:t>2. September	Ro på krop og tanker V Lisa og Nina</a:t>
            </a:r>
          </a:p>
          <a:p>
            <a:r>
              <a:rPr lang="da-DK" dirty="0" smtClean="0"/>
              <a:t>16 September	Socialrådgivere + Nina</a:t>
            </a:r>
          </a:p>
          <a:p>
            <a:r>
              <a:rPr lang="da-DK" dirty="0" smtClean="0"/>
              <a:t>30 september 	Pas på din energi V. Lisa og Nina</a:t>
            </a:r>
          </a:p>
          <a:p>
            <a:endParaRPr lang="da-DK" dirty="0"/>
          </a:p>
          <a:p>
            <a:r>
              <a:rPr lang="da-DK" dirty="0" smtClean="0"/>
              <a:t>21 Oktober 	Kost og kræft V diætist og Nina</a:t>
            </a:r>
          </a:p>
          <a:p>
            <a:r>
              <a:rPr lang="da-DK" dirty="0" smtClean="0"/>
              <a:t>28 Oktober	Søvn V Lisa og Trine</a:t>
            </a:r>
          </a:p>
          <a:p>
            <a:endParaRPr lang="da-DK" dirty="0"/>
          </a:p>
          <a:p>
            <a:r>
              <a:rPr lang="da-DK" dirty="0" smtClean="0"/>
              <a:t>11 November  	Omgivelsernes reaktioner V Lisa og Trine</a:t>
            </a:r>
          </a:p>
          <a:p>
            <a:r>
              <a:rPr lang="da-DK" dirty="0" smtClean="0"/>
              <a:t>25 November 	Fremtiden – ny tilværelse V Lisa og Trine</a:t>
            </a:r>
          </a:p>
          <a:p>
            <a:endParaRPr lang="da-DK" dirty="0"/>
          </a:p>
          <a:p>
            <a:r>
              <a:rPr lang="da-DK" dirty="0" smtClean="0"/>
              <a:t>9  December	Besøg i kræftens bekæmpelse V Trine og Nina</a:t>
            </a:r>
            <a:endParaRPr lang="da-DK" dirty="0"/>
          </a:p>
          <a:p>
            <a:pPr lvl="0"/>
            <a:endParaRPr lang="da-DK" dirty="0" smtClean="0"/>
          </a:p>
          <a:p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26DEDCB-493A-4621-B62C-CC5DBDD5CEF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2661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pjece" id="{7D2DD921-5B2D-4EBD-A0EB-DF917AEEED7C}" vid="{0DB6C296-5591-4D4F-8E51-00D8A4EA4F47}"/>
    </a:ext>
  </a:extLst>
</a:theme>
</file>

<file path=ppt/theme/theme2.xml><?xml version="1.0" encoding="utf-8"?>
<a:theme xmlns:a="http://schemas.openxmlformats.org/drawingml/2006/main" name="A4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pjece" id="{7D2DD921-5B2D-4EBD-A0EB-DF917AEEED7C}" vid="{291B7616-042A-42C2-9A16-BF57DC49BDC2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4 Pjece</Template>
  <TotalTime>928</TotalTime>
  <Words>286</Words>
  <Application>Microsoft Office PowerPoint</Application>
  <PresentationFormat>A4-papir (210 x 297 mm)</PresentationFormat>
  <Paragraphs>38</Paragraphs>
  <Slides>2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</vt:i4>
      </vt:variant>
    </vt:vector>
  </HeadingPairs>
  <TitlesOfParts>
    <vt:vector size="12" baseType="lpstr">
      <vt:lpstr>Aleo</vt:lpstr>
      <vt:lpstr>Arial</vt:lpstr>
      <vt:lpstr>Calibri</vt:lpstr>
      <vt:lpstr>Montserrat</vt:lpstr>
      <vt:lpstr>Montserrat Bold</vt:lpstr>
      <vt:lpstr>Montserrat Medium</vt:lpstr>
      <vt:lpstr>Montserrat SemiBold</vt:lpstr>
      <vt:lpstr>A4 pjece - Print selv</vt:lpstr>
      <vt:lpstr>A4 pjece - Til tryk</vt:lpstr>
      <vt:lpstr>think-cell Slide</vt:lpstr>
      <vt:lpstr>Saml kræfterne 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ia Karrebæk Juhler</dc:creator>
  <cp:lastModifiedBy>Trine Ejlekær Johansen</cp:lastModifiedBy>
  <cp:revision>48</cp:revision>
  <cp:lastPrinted>2022-12-19T12:56:35Z</cp:lastPrinted>
  <dcterms:created xsi:type="dcterms:W3CDTF">2021-09-22T11:29:12Z</dcterms:created>
  <dcterms:modified xsi:type="dcterms:W3CDTF">2025-07-02T06:23:08Z</dcterms:modified>
</cp:coreProperties>
</file>